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sldIdLst>
    <p:sldId id="271" r:id="rId2"/>
    <p:sldId id="256" r:id="rId3"/>
    <p:sldId id="257" r:id="rId4"/>
    <p:sldId id="258" r:id="rId5"/>
    <p:sldId id="259" r:id="rId6"/>
    <p:sldId id="272" r:id="rId7"/>
    <p:sldId id="268" r:id="rId8"/>
    <p:sldId id="260" r:id="rId9"/>
    <p:sldId id="273" r:id="rId10"/>
    <p:sldId id="261" r:id="rId11"/>
    <p:sldId id="274" r:id="rId12"/>
    <p:sldId id="262" r:id="rId13"/>
    <p:sldId id="275" r:id="rId14"/>
    <p:sldId id="264" r:id="rId15"/>
    <p:sldId id="276" r:id="rId16"/>
    <p:sldId id="263" r:id="rId17"/>
    <p:sldId id="277" r:id="rId18"/>
    <p:sldId id="265" r:id="rId19"/>
    <p:sldId id="278" r:id="rId20"/>
    <p:sldId id="280" r:id="rId21"/>
    <p:sldId id="266" r:id="rId22"/>
    <p:sldId id="279" r:id="rId23"/>
    <p:sldId id="267" r:id="rId24"/>
    <p:sldId id="281" r:id="rId25"/>
    <p:sldId id="269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96" y="5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E44A58-7C6F-44DC-93B3-3B9859E9DFCE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8ED5E0-BC3E-441C-BE43-D48D4DA1FA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86772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606917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ADE2C-AB2C-4AB9-95C5-E4C388E836F3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AA094F-8F0F-4131-A235-C2B5A42CC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1361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ADE2C-AB2C-4AB9-95C5-E4C388E836F3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AA094F-8F0F-4131-A235-C2B5A42CC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2556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ADE2C-AB2C-4AB9-95C5-E4C388E836F3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AA094F-8F0F-4131-A235-C2B5A42CC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1822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6" name="Freeform 6"/>
          <p:cNvSpPr>
            <a:spLocks/>
          </p:cNvSpPr>
          <p:nvPr userDrawn="1"/>
        </p:nvSpPr>
        <p:spPr bwMode="auto">
          <a:xfrm>
            <a:off x="0" y="0"/>
            <a:ext cx="7651750" cy="6858000"/>
          </a:xfrm>
          <a:custGeom>
            <a:avLst/>
            <a:gdLst/>
            <a:ahLst/>
            <a:cxnLst>
              <a:cxn ang="0">
                <a:pos x="0" y="4320"/>
              </a:cxn>
              <a:cxn ang="0">
                <a:pos x="0" y="18"/>
              </a:cxn>
              <a:cxn ang="0">
                <a:pos x="2" y="4"/>
              </a:cxn>
              <a:cxn ang="0">
                <a:pos x="18" y="0"/>
              </a:cxn>
              <a:cxn ang="0">
                <a:pos x="4802" y="0"/>
              </a:cxn>
              <a:cxn ang="0">
                <a:pos x="4812" y="0"/>
              </a:cxn>
              <a:cxn ang="0">
                <a:pos x="4820" y="8"/>
              </a:cxn>
              <a:cxn ang="0">
                <a:pos x="4820" y="18"/>
              </a:cxn>
              <a:cxn ang="0">
                <a:pos x="4820" y="50"/>
              </a:cxn>
              <a:cxn ang="0">
                <a:pos x="4816" y="52"/>
              </a:cxn>
              <a:cxn ang="0">
                <a:pos x="4816" y="64"/>
              </a:cxn>
              <a:cxn ang="0">
                <a:pos x="4808" y="138"/>
              </a:cxn>
              <a:cxn ang="0">
                <a:pos x="4800" y="200"/>
              </a:cxn>
              <a:cxn ang="0">
                <a:pos x="4776" y="318"/>
              </a:cxn>
              <a:cxn ang="0">
                <a:pos x="4744" y="434"/>
              </a:cxn>
              <a:cxn ang="0">
                <a:pos x="4704" y="544"/>
              </a:cxn>
              <a:cxn ang="0">
                <a:pos x="4654" y="652"/>
              </a:cxn>
              <a:cxn ang="0">
                <a:pos x="4594" y="754"/>
              </a:cxn>
              <a:cxn ang="0">
                <a:pos x="4528" y="852"/>
              </a:cxn>
              <a:cxn ang="0">
                <a:pos x="4452" y="948"/>
              </a:cxn>
              <a:cxn ang="0">
                <a:pos x="4410" y="994"/>
              </a:cxn>
              <a:cxn ang="0">
                <a:pos x="4342" y="1064"/>
              </a:cxn>
              <a:cxn ang="0">
                <a:pos x="4270" y="1130"/>
              </a:cxn>
              <a:cxn ang="0">
                <a:pos x="4118" y="1252"/>
              </a:cxn>
              <a:cxn ang="0">
                <a:pos x="3956" y="1360"/>
              </a:cxn>
              <a:cxn ang="0">
                <a:pos x="3786" y="1458"/>
              </a:cxn>
              <a:cxn ang="0">
                <a:pos x="3724" y="1488"/>
              </a:cxn>
              <a:cxn ang="0">
                <a:pos x="3542" y="1574"/>
              </a:cxn>
              <a:cxn ang="0">
                <a:pos x="3294" y="1678"/>
              </a:cxn>
              <a:cxn ang="0">
                <a:pos x="3028" y="1790"/>
              </a:cxn>
              <a:cxn ang="0">
                <a:pos x="2498" y="2020"/>
              </a:cxn>
              <a:cxn ang="0">
                <a:pos x="2238" y="2142"/>
              </a:cxn>
              <a:cxn ang="0">
                <a:pos x="2054" y="2232"/>
              </a:cxn>
              <a:cxn ang="0">
                <a:pos x="1872" y="2326"/>
              </a:cxn>
              <a:cxn ang="0">
                <a:pos x="1696" y="2428"/>
              </a:cxn>
              <a:cxn ang="0">
                <a:pos x="1522" y="2538"/>
              </a:cxn>
              <a:cxn ang="0">
                <a:pos x="1464" y="2578"/>
              </a:cxn>
              <a:cxn ang="0">
                <a:pos x="1350" y="2664"/>
              </a:cxn>
              <a:cxn ang="0">
                <a:pos x="1242" y="2758"/>
              </a:cxn>
              <a:cxn ang="0">
                <a:pos x="1142" y="2860"/>
              </a:cxn>
              <a:cxn ang="0">
                <a:pos x="1096" y="2916"/>
              </a:cxn>
              <a:cxn ang="0">
                <a:pos x="1030" y="3008"/>
              </a:cxn>
              <a:cxn ang="0">
                <a:pos x="976" y="3102"/>
              </a:cxn>
              <a:cxn ang="0">
                <a:pos x="934" y="3200"/>
              </a:cxn>
              <a:cxn ang="0">
                <a:pos x="904" y="3302"/>
              </a:cxn>
              <a:cxn ang="0">
                <a:pos x="884" y="3404"/>
              </a:cxn>
              <a:cxn ang="0">
                <a:pos x="878" y="3512"/>
              </a:cxn>
              <a:cxn ang="0">
                <a:pos x="884" y="3620"/>
              </a:cxn>
              <a:cxn ang="0">
                <a:pos x="900" y="3732"/>
              </a:cxn>
              <a:cxn ang="0">
                <a:pos x="914" y="3788"/>
              </a:cxn>
              <a:cxn ang="0">
                <a:pos x="944" y="3898"/>
              </a:cxn>
              <a:cxn ang="0">
                <a:pos x="982" y="4004"/>
              </a:cxn>
              <a:cxn ang="0">
                <a:pos x="1028" y="4108"/>
              </a:cxn>
              <a:cxn ang="0">
                <a:pos x="1052" y="4160"/>
              </a:cxn>
              <a:cxn ang="0">
                <a:pos x="1126" y="4302"/>
              </a:cxn>
              <a:cxn ang="0">
                <a:pos x="1130" y="4312"/>
              </a:cxn>
              <a:cxn ang="0">
                <a:pos x="1130" y="4318"/>
              </a:cxn>
              <a:cxn ang="0">
                <a:pos x="1116" y="4320"/>
              </a:cxn>
              <a:cxn ang="0">
                <a:pos x="1100" y="4320"/>
              </a:cxn>
              <a:cxn ang="0">
                <a:pos x="0" y="4320"/>
              </a:cxn>
            </a:cxnLst>
            <a:rect l="0" t="0" r="r" b="b"/>
            <a:pathLst>
              <a:path w="4820" h="4320">
                <a:moveTo>
                  <a:pt x="0" y="4320"/>
                </a:moveTo>
                <a:lnTo>
                  <a:pt x="0" y="4320"/>
                </a:lnTo>
                <a:lnTo>
                  <a:pt x="0" y="18"/>
                </a:lnTo>
                <a:lnTo>
                  <a:pt x="0" y="18"/>
                </a:lnTo>
                <a:lnTo>
                  <a:pt x="0" y="8"/>
                </a:lnTo>
                <a:lnTo>
                  <a:pt x="2" y="4"/>
                </a:lnTo>
                <a:lnTo>
                  <a:pt x="8" y="0"/>
                </a:lnTo>
                <a:lnTo>
                  <a:pt x="18" y="0"/>
                </a:lnTo>
                <a:lnTo>
                  <a:pt x="18" y="0"/>
                </a:lnTo>
                <a:lnTo>
                  <a:pt x="4802" y="0"/>
                </a:lnTo>
                <a:lnTo>
                  <a:pt x="4802" y="0"/>
                </a:lnTo>
                <a:lnTo>
                  <a:pt x="4812" y="0"/>
                </a:lnTo>
                <a:lnTo>
                  <a:pt x="4818" y="4"/>
                </a:lnTo>
                <a:lnTo>
                  <a:pt x="4820" y="8"/>
                </a:lnTo>
                <a:lnTo>
                  <a:pt x="4820" y="18"/>
                </a:lnTo>
                <a:lnTo>
                  <a:pt x="4820" y="18"/>
                </a:lnTo>
                <a:lnTo>
                  <a:pt x="4820" y="34"/>
                </a:lnTo>
                <a:lnTo>
                  <a:pt x="4820" y="50"/>
                </a:lnTo>
                <a:lnTo>
                  <a:pt x="4820" y="50"/>
                </a:lnTo>
                <a:lnTo>
                  <a:pt x="4816" y="52"/>
                </a:lnTo>
                <a:lnTo>
                  <a:pt x="4816" y="56"/>
                </a:lnTo>
                <a:lnTo>
                  <a:pt x="4816" y="64"/>
                </a:lnTo>
                <a:lnTo>
                  <a:pt x="4816" y="64"/>
                </a:lnTo>
                <a:lnTo>
                  <a:pt x="4808" y="138"/>
                </a:lnTo>
                <a:lnTo>
                  <a:pt x="4808" y="138"/>
                </a:lnTo>
                <a:lnTo>
                  <a:pt x="4800" y="200"/>
                </a:lnTo>
                <a:lnTo>
                  <a:pt x="4790" y="260"/>
                </a:lnTo>
                <a:lnTo>
                  <a:pt x="4776" y="318"/>
                </a:lnTo>
                <a:lnTo>
                  <a:pt x="4762" y="376"/>
                </a:lnTo>
                <a:lnTo>
                  <a:pt x="4744" y="434"/>
                </a:lnTo>
                <a:lnTo>
                  <a:pt x="4726" y="490"/>
                </a:lnTo>
                <a:lnTo>
                  <a:pt x="4704" y="544"/>
                </a:lnTo>
                <a:lnTo>
                  <a:pt x="4680" y="598"/>
                </a:lnTo>
                <a:lnTo>
                  <a:pt x="4654" y="652"/>
                </a:lnTo>
                <a:lnTo>
                  <a:pt x="4626" y="704"/>
                </a:lnTo>
                <a:lnTo>
                  <a:pt x="4594" y="754"/>
                </a:lnTo>
                <a:lnTo>
                  <a:pt x="4562" y="804"/>
                </a:lnTo>
                <a:lnTo>
                  <a:pt x="4528" y="852"/>
                </a:lnTo>
                <a:lnTo>
                  <a:pt x="4490" y="900"/>
                </a:lnTo>
                <a:lnTo>
                  <a:pt x="4452" y="948"/>
                </a:lnTo>
                <a:lnTo>
                  <a:pt x="4410" y="994"/>
                </a:lnTo>
                <a:lnTo>
                  <a:pt x="4410" y="994"/>
                </a:lnTo>
                <a:lnTo>
                  <a:pt x="4376" y="1030"/>
                </a:lnTo>
                <a:lnTo>
                  <a:pt x="4342" y="1064"/>
                </a:lnTo>
                <a:lnTo>
                  <a:pt x="4306" y="1098"/>
                </a:lnTo>
                <a:lnTo>
                  <a:pt x="4270" y="1130"/>
                </a:lnTo>
                <a:lnTo>
                  <a:pt x="4196" y="1194"/>
                </a:lnTo>
                <a:lnTo>
                  <a:pt x="4118" y="1252"/>
                </a:lnTo>
                <a:lnTo>
                  <a:pt x="4038" y="1308"/>
                </a:lnTo>
                <a:lnTo>
                  <a:pt x="3956" y="1360"/>
                </a:lnTo>
                <a:lnTo>
                  <a:pt x="3872" y="1410"/>
                </a:lnTo>
                <a:lnTo>
                  <a:pt x="3786" y="1458"/>
                </a:lnTo>
                <a:lnTo>
                  <a:pt x="3786" y="1458"/>
                </a:lnTo>
                <a:lnTo>
                  <a:pt x="3724" y="1488"/>
                </a:lnTo>
                <a:lnTo>
                  <a:pt x="3664" y="1518"/>
                </a:lnTo>
                <a:lnTo>
                  <a:pt x="3542" y="1574"/>
                </a:lnTo>
                <a:lnTo>
                  <a:pt x="3418" y="1626"/>
                </a:lnTo>
                <a:lnTo>
                  <a:pt x="3294" y="1678"/>
                </a:lnTo>
                <a:lnTo>
                  <a:pt x="3294" y="1678"/>
                </a:lnTo>
                <a:lnTo>
                  <a:pt x="3028" y="1790"/>
                </a:lnTo>
                <a:lnTo>
                  <a:pt x="2762" y="1904"/>
                </a:lnTo>
                <a:lnTo>
                  <a:pt x="2498" y="2020"/>
                </a:lnTo>
                <a:lnTo>
                  <a:pt x="2368" y="2080"/>
                </a:lnTo>
                <a:lnTo>
                  <a:pt x="2238" y="2142"/>
                </a:lnTo>
                <a:lnTo>
                  <a:pt x="2238" y="2142"/>
                </a:lnTo>
                <a:lnTo>
                  <a:pt x="2054" y="2232"/>
                </a:lnTo>
                <a:lnTo>
                  <a:pt x="1962" y="2278"/>
                </a:lnTo>
                <a:lnTo>
                  <a:pt x="1872" y="2326"/>
                </a:lnTo>
                <a:lnTo>
                  <a:pt x="1784" y="2376"/>
                </a:lnTo>
                <a:lnTo>
                  <a:pt x="1696" y="2428"/>
                </a:lnTo>
                <a:lnTo>
                  <a:pt x="1608" y="2482"/>
                </a:lnTo>
                <a:lnTo>
                  <a:pt x="1522" y="2538"/>
                </a:lnTo>
                <a:lnTo>
                  <a:pt x="1522" y="2538"/>
                </a:lnTo>
                <a:lnTo>
                  <a:pt x="1464" y="2578"/>
                </a:lnTo>
                <a:lnTo>
                  <a:pt x="1406" y="2620"/>
                </a:lnTo>
                <a:lnTo>
                  <a:pt x="1350" y="2664"/>
                </a:lnTo>
                <a:lnTo>
                  <a:pt x="1296" y="2710"/>
                </a:lnTo>
                <a:lnTo>
                  <a:pt x="1242" y="2758"/>
                </a:lnTo>
                <a:lnTo>
                  <a:pt x="1192" y="2808"/>
                </a:lnTo>
                <a:lnTo>
                  <a:pt x="1142" y="2860"/>
                </a:lnTo>
                <a:lnTo>
                  <a:pt x="1096" y="2916"/>
                </a:lnTo>
                <a:lnTo>
                  <a:pt x="1096" y="2916"/>
                </a:lnTo>
                <a:lnTo>
                  <a:pt x="1062" y="2962"/>
                </a:lnTo>
                <a:lnTo>
                  <a:pt x="1030" y="3008"/>
                </a:lnTo>
                <a:lnTo>
                  <a:pt x="1002" y="3054"/>
                </a:lnTo>
                <a:lnTo>
                  <a:pt x="976" y="3102"/>
                </a:lnTo>
                <a:lnTo>
                  <a:pt x="952" y="3152"/>
                </a:lnTo>
                <a:lnTo>
                  <a:pt x="934" y="3200"/>
                </a:lnTo>
                <a:lnTo>
                  <a:pt x="916" y="3250"/>
                </a:lnTo>
                <a:lnTo>
                  <a:pt x="904" y="3302"/>
                </a:lnTo>
                <a:lnTo>
                  <a:pt x="892" y="3352"/>
                </a:lnTo>
                <a:lnTo>
                  <a:pt x="884" y="3404"/>
                </a:lnTo>
                <a:lnTo>
                  <a:pt x="880" y="3458"/>
                </a:lnTo>
                <a:lnTo>
                  <a:pt x="878" y="3512"/>
                </a:lnTo>
                <a:lnTo>
                  <a:pt x="880" y="3566"/>
                </a:lnTo>
                <a:lnTo>
                  <a:pt x="884" y="3620"/>
                </a:lnTo>
                <a:lnTo>
                  <a:pt x="890" y="3676"/>
                </a:lnTo>
                <a:lnTo>
                  <a:pt x="900" y="3732"/>
                </a:lnTo>
                <a:lnTo>
                  <a:pt x="900" y="3732"/>
                </a:lnTo>
                <a:lnTo>
                  <a:pt x="914" y="3788"/>
                </a:lnTo>
                <a:lnTo>
                  <a:pt x="928" y="3844"/>
                </a:lnTo>
                <a:lnTo>
                  <a:pt x="944" y="3898"/>
                </a:lnTo>
                <a:lnTo>
                  <a:pt x="962" y="3952"/>
                </a:lnTo>
                <a:lnTo>
                  <a:pt x="982" y="4004"/>
                </a:lnTo>
                <a:lnTo>
                  <a:pt x="1004" y="4056"/>
                </a:lnTo>
                <a:lnTo>
                  <a:pt x="1028" y="4108"/>
                </a:lnTo>
                <a:lnTo>
                  <a:pt x="1052" y="4160"/>
                </a:lnTo>
                <a:lnTo>
                  <a:pt x="1052" y="4160"/>
                </a:lnTo>
                <a:lnTo>
                  <a:pt x="1088" y="4232"/>
                </a:lnTo>
                <a:lnTo>
                  <a:pt x="1126" y="4302"/>
                </a:lnTo>
                <a:lnTo>
                  <a:pt x="1126" y="4302"/>
                </a:lnTo>
                <a:lnTo>
                  <a:pt x="1130" y="4312"/>
                </a:lnTo>
                <a:lnTo>
                  <a:pt x="1132" y="4316"/>
                </a:lnTo>
                <a:lnTo>
                  <a:pt x="1130" y="4318"/>
                </a:lnTo>
                <a:lnTo>
                  <a:pt x="1126" y="4320"/>
                </a:lnTo>
                <a:lnTo>
                  <a:pt x="1116" y="4320"/>
                </a:lnTo>
                <a:lnTo>
                  <a:pt x="1116" y="4320"/>
                </a:lnTo>
                <a:lnTo>
                  <a:pt x="1100" y="4320"/>
                </a:lnTo>
                <a:lnTo>
                  <a:pt x="1100" y="4320"/>
                </a:lnTo>
                <a:lnTo>
                  <a:pt x="0" y="4320"/>
                </a:lnTo>
                <a:lnTo>
                  <a:pt x="0" y="4320"/>
                </a:lnTo>
                <a:close/>
              </a:path>
            </a:pathLst>
          </a:custGeom>
          <a:solidFill>
            <a:srgbClr val="12AAD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xmlns="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73300" y="0"/>
            <a:ext cx="99187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708" y="434513"/>
            <a:ext cx="5419268" cy="1902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614629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250232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ADE2C-AB2C-4AB9-95C5-E4C388E836F3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AA094F-8F0F-4131-A235-C2B5A42CC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6689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ADE2C-AB2C-4AB9-95C5-E4C388E836F3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AA094F-8F0F-4131-A235-C2B5A42CC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87266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ADE2C-AB2C-4AB9-95C5-E4C388E836F3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AA094F-8F0F-4131-A235-C2B5A42CC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6614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ADE2C-AB2C-4AB9-95C5-E4C388E836F3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AA094F-8F0F-4131-A235-C2B5A42CC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5900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ADE2C-AB2C-4AB9-95C5-E4C388E836F3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AA094F-8F0F-4131-A235-C2B5A42CC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529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ADE2C-AB2C-4AB9-95C5-E4C388E836F3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AA094F-8F0F-4131-A235-C2B5A42CC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0124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ADE2C-AB2C-4AB9-95C5-E4C388E836F3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AA094F-8F0F-4131-A235-C2B5A42CC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8063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ADE2C-AB2C-4AB9-95C5-E4C388E836F3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AA094F-8F0F-4131-A235-C2B5A42CC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2765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9ADE2C-AB2C-4AB9-95C5-E4C388E836F3}" type="datetimeFigureOut">
              <a:rPr lang="en-US" smtClean="0"/>
              <a:t>11/3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AA094F-8F0F-4131-A235-C2B5A42CC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999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4016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            COUNTRY WISE POPUL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2125684"/>
            <a:ext cx="10253353" cy="3895106"/>
          </a:xfrm>
        </p:spPr>
      </p:pic>
    </p:spTree>
    <p:extLst>
      <p:ext uri="{BB962C8B-B14F-4D97-AF65-F5344CB8AC3E}">
        <p14:creationId xmlns:p14="http://schemas.microsoft.com/office/powerpoint/2010/main" val="13698699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257" y="427512"/>
            <a:ext cx="11507190" cy="6222670"/>
          </a:xfrm>
        </p:spPr>
      </p:pic>
    </p:spTree>
    <p:extLst>
      <p:ext uri="{BB962C8B-B14F-4D97-AF65-F5344CB8AC3E}">
        <p14:creationId xmlns:p14="http://schemas.microsoft.com/office/powerpoint/2010/main" val="18582026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VELOPMENT WISE TOTAL POPUL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392" y="2066306"/>
            <a:ext cx="10557164" cy="4001985"/>
          </a:xfrm>
        </p:spPr>
      </p:pic>
    </p:spTree>
    <p:extLst>
      <p:ext uri="{BB962C8B-B14F-4D97-AF65-F5344CB8AC3E}">
        <p14:creationId xmlns:p14="http://schemas.microsoft.com/office/powerpoint/2010/main" val="28982197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2566" y="2149433"/>
            <a:ext cx="6365174" cy="1425039"/>
          </a:xfrm>
        </p:spPr>
      </p:pic>
    </p:spTree>
    <p:extLst>
      <p:ext uri="{BB962C8B-B14F-4D97-AF65-F5344CB8AC3E}">
        <p14:creationId xmlns:p14="http://schemas.microsoft.com/office/powerpoint/2010/main" val="12516320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             CONTINENT WISE AREA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770" y="2386940"/>
            <a:ext cx="10665030" cy="3443844"/>
          </a:xfrm>
        </p:spPr>
      </p:pic>
    </p:spTree>
    <p:extLst>
      <p:ext uri="{BB962C8B-B14F-4D97-AF65-F5344CB8AC3E}">
        <p14:creationId xmlns:p14="http://schemas.microsoft.com/office/powerpoint/2010/main" val="30624626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8177" y="510638"/>
            <a:ext cx="7077694" cy="5583197"/>
          </a:xfrm>
        </p:spPr>
      </p:pic>
    </p:spTree>
    <p:extLst>
      <p:ext uri="{BB962C8B-B14F-4D97-AF65-F5344CB8AC3E}">
        <p14:creationId xmlns:p14="http://schemas.microsoft.com/office/powerpoint/2010/main" val="4405079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                  COUNTRY WISE AREA</a:t>
            </a:r>
            <a:endParaRPr lang="en-US" dirty="0"/>
          </a:p>
        </p:txBody>
      </p:sp>
      <p:pic>
        <p:nvPicPr>
          <p:cNvPr id="6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2375066"/>
            <a:ext cx="9885218" cy="3467594"/>
          </a:xfrm>
        </p:spPr>
      </p:pic>
    </p:spTree>
    <p:extLst>
      <p:ext uri="{BB962C8B-B14F-4D97-AF65-F5344CB8AC3E}">
        <p14:creationId xmlns:p14="http://schemas.microsoft.com/office/powerpoint/2010/main" val="29437012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8790" y="593767"/>
            <a:ext cx="8158348" cy="5336153"/>
          </a:xfrm>
        </p:spPr>
      </p:pic>
    </p:spTree>
    <p:extLst>
      <p:ext uri="{BB962C8B-B14F-4D97-AF65-F5344CB8AC3E}">
        <p14:creationId xmlns:p14="http://schemas.microsoft.com/office/powerpoint/2010/main" val="41685888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3192" y="270122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 dirty="0" smtClean="0"/>
              <a:t>CONTINENT WISE HIGHEST AND LOWEST POPULATION</a:t>
            </a:r>
            <a:endParaRPr lang="en-US" sz="3600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392" y="1900053"/>
            <a:ext cx="10557164" cy="4061360"/>
          </a:xfrm>
        </p:spPr>
      </p:pic>
    </p:spTree>
    <p:extLst>
      <p:ext uri="{BB962C8B-B14F-4D97-AF65-F5344CB8AC3E}">
        <p14:creationId xmlns:p14="http://schemas.microsoft.com/office/powerpoint/2010/main" val="18809144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0680" y="1104405"/>
            <a:ext cx="7113320" cy="4061361"/>
          </a:xfrm>
        </p:spPr>
      </p:pic>
    </p:spTree>
    <p:extLst>
      <p:ext uri="{BB962C8B-B14F-4D97-AF65-F5344CB8AC3E}">
        <p14:creationId xmlns:p14="http://schemas.microsoft.com/office/powerpoint/2010/main" val="2316698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17122" y="196088"/>
            <a:ext cx="9144000" cy="2387600"/>
          </a:xfrm>
        </p:spPr>
        <p:txBody>
          <a:bodyPr>
            <a:normAutofit fontScale="90000"/>
          </a:bodyPr>
          <a:lstStyle/>
          <a:p>
            <a:r>
              <a:rPr lang="en-US" sz="4000" dirty="0" smtClean="0"/>
              <a:t>BI</a:t>
            </a:r>
            <a:br>
              <a:rPr lang="en-US" sz="4000" dirty="0" smtClean="0"/>
            </a:br>
            <a:r>
              <a:rPr lang="en-US" sz="4000" dirty="0" smtClean="0"/>
              <a:t>MINI PROJEC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ORLD POPULATION ANALYSI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                                                               G.VINEETH</a:t>
            </a:r>
          </a:p>
          <a:p>
            <a:r>
              <a:rPr lang="en-US" dirty="0" smtClean="0"/>
              <a:t>                                                              16115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1692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7564" y="1056904"/>
            <a:ext cx="7398327" cy="4275117"/>
          </a:xfrm>
        </p:spPr>
      </p:pic>
    </p:spTree>
    <p:extLst>
      <p:ext uri="{BB962C8B-B14F-4D97-AF65-F5344CB8AC3E}">
        <p14:creationId xmlns:p14="http://schemas.microsoft.com/office/powerpoint/2010/main" val="17392081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     COUNTRY WISE HIGHEST POPUL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636" y="2208810"/>
            <a:ext cx="11305309" cy="3942608"/>
          </a:xfrm>
        </p:spPr>
      </p:pic>
    </p:spTree>
    <p:extLst>
      <p:ext uri="{BB962C8B-B14F-4D97-AF65-F5344CB8AC3E}">
        <p14:creationId xmlns:p14="http://schemas.microsoft.com/office/powerpoint/2010/main" val="38329264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3844" y="558140"/>
            <a:ext cx="5569527" cy="5759533"/>
          </a:xfrm>
        </p:spPr>
      </p:pic>
    </p:spTree>
    <p:extLst>
      <p:ext uri="{BB962C8B-B14F-4D97-AF65-F5344CB8AC3E}">
        <p14:creationId xmlns:p14="http://schemas.microsoft.com/office/powerpoint/2010/main" val="326137024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365125"/>
            <a:ext cx="10515600" cy="1325563"/>
          </a:xfrm>
        </p:spPr>
        <p:txBody>
          <a:bodyPr/>
          <a:lstStyle/>
          <a:p>
            <a:r>
              <a:rPr lang="en-US" dirty="0" smtClean="0"/>
              <a:t>             COUNTRY WISE GOVERNANC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382" y="1969774"/>
            <a:ext cx="11768447" cy="3409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6798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4426" y="0"/>
            <a:ext cx="787333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0765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type="body" sz="quarter" idx="11"/>
          </p:nvPr>
        </p:nvSpPr>
        <p:spPr>
          <a:xfrm>
            <a:off x="4035180" y="2916457"/>
            <a:ext cx="5419268" cy="190228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48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ANK YOU…</a:t>
            </a:r>
            <a:endParaRPr lang="en-US" sz="48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5027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7628" y="500062"/>
            <a:ext cx="10515600" cy="1325563"/>
          </a:xfrm>
        </p:spPr>
        <p:txBody>
          <a:bodyPr/>
          <a:lstStyle/>
          <a:p>
            <a:r>
              <a:rPr lang="en-US" b="1" kern="1600" cap="small" spc="10" dirty="0" smtClean="0">
                <a:effectLst/>
                <a:latin typeface="Arial" panose="020B0604020202020204" pitchFamily="34" charset="0"/>
              </a:rPr>
              <a:t>Problem Statement</a:t>
            </a:r>
            <a:br>
              <a:rPr lang="en-US" b="1" kern="1600" cap="small" spc="10" dirty="0" smtClean="0">
                <a:effectLst/>
                <a:latin typeface="Arial" panose="020B0604020202020204" pitchFamily="34" charset="0"/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 marL="342900" marR="0" lvl="0" indent="-342900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  <a:tabLst>
                <a:tab pos="274320" algn="l"/>
              </a:tabLst>
            </a:pPr>
            <a:r>
              <a:rPr lang="en-US" b="1" kern="1600" cap="small" spc="10" dirty="0" smtClean="0">
                <a:effectLst/>
                <a:latin typeface="Arial" panose="020B0604020202020204" pitchFamily="34" charset="0"/>
              </a:rPr>
              <a:t>Problem Statement</a:t>
            </a:r>
          </a:p>
          <a:p>
            <a:pPr marL="742950" marR="0" lvl="1" indent="-285750" algn="just">
              <a:lnSpc>
                <a:spcPct val="120000"/>
              </a:lnSpc>
              <a:spcBef>
                <a:spcPts val="1200"/>
              </a:spcBef>
              <a:spcAft>
                <a:spcPts val="900"/>
              </a:spcAft>
              <a:buFont typeface="+mj-lt"/>
              <a:buAutoNum type="arabicPeriod"/>
              <a:tabLst>
                <a:tab pos="365760" algn="l"/>
              </a:tabLst>
            </a:pPr>
            <a:r>
              <a:rPr lang="en-US" b="1" cap="small" spc="10" dirty="0" smtClean="0">
                <a:solidFill>
                  <a:srgbClr val="000094"/>
                </a:solidFill>
                <a:effectLst/>
                <a:latin typeface="Arial" panose="020B0604020202020204" pitchFamily="34" charset="0"/>
              </a:rPr>
              <a:t>Objective </a:t>
            </a:r>
          </a:p>
          <a:p>
            <a:pPr marL="0" marR="0" algn="just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pc="10" dirty="0" smtClean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evelopment of a </a:t>
            </a:r>
            <a:r>
              <a:rPr lang="en-US" b="1" spc="10" dirty="0" smtClean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ORLD POPULATION ANALYSIS System</a:t>
            </a:r>
            <a:endParaRPr lang="en-US" spc="10" dirty="0" smtClean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marR="0" lvl="1" indent="-285750" algn="just">
              <a:lnSpc>
                <a:spcPct val="120000"/>
              </a:lnSpc>
              <a:spcBef>
                <a:spcPts val="1200"/>
              </a:spcBef>
              <a:spcAft>
                <a:spcPts val="900"/>
              </a:spcAft>
              <a:buFont typeface="+mj-lt"/>
              <a:buAutoNum type="arabicPeriod"/>
              <a:tabLst>
                <a:tab pos="365760" algn="l"/>
              </a:tabLst>
            </a:pPr>
            <a:r>
              <a:rPr lang="en-US" b="1" cap="small" spc="10" dirty="0" smtClean="0">
                <a:solidFill>
                  <a:srgbClr val="000094"/>
                </a:solidFill>
                <a:effectLst/>
                <a:latin typeface="Arial" panose="020B0604020202020204" pitchFamily="34" charset="0"/>
              </a:rPr>
              <a:t>Abstract of the project</a:t>
            </a:r>
          </a:p>
          <a:p>
            <a:pPr marL="0" marR="0" algn="just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pc="10" dirty="0" smtClean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his Document on world population projects the population count of all countries of the </a:t>
            </a:r>
          </a:p>
          <a:p>
            <a:pPr marL="0" marR="0" indent="0" algn="just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pc="10" dirty="0" smtClean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orld from 1950 to 2014.It also </a:t>
            </a:r>
            <a:r>
              <a:rPr lang="en-US" spc="10" dirty="0" err="1" smtClean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ategorises</a:t>
            </a:r>
            <a:r>
              <a:rPr lang="en-US" spc="10" dirty="0" smtClean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the countries as continent wise, governance wise, development wise.</a:t>
            </a:r>
            <a:endParaRPr lang="en-US" spc="10" dirty="0" smtClean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marR="0" lvl="1" indent="-285750" algn="just">
              <a:lnSpc>
                <a:spcPct val="120000"/>
              </a:lnSpc>
              <a:spcBef>
                <a:spcPts val="1200"/>
              </a:spcBef>
              <a:spcAft>
                <a:spcPts val="900"/>
              </a:spcAft>
              <a:buFont typeface="+mj-lt"/>
              <a:buAutoNum type="arabicPeriod"/>
              <a:tabLst>
                <a:tab pos="365760" algn="l"/>
              </a:tabLst>
            </a:pPr>
            <a:r>
              <a:rPr lang="en-US" b="1" cap="small" spc="10" dirty="0" smtClean="0">
                <a:solidFill>
                  <a:srgbClr val="000094"/>
                </a:solidFill>
                <a:effectLst/>
                <a:latin typeface="Arial" panose="020B0604020202020204" pitchFamily="34" charset="0"/>
              </a:rPr>
              <a:t>Technology used:</a:t>
            </a:r>
          </a:p>
          <a:p>
            <a:pPr marL="342900" lvl="0" indent="-342900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pc="10" dirty="0" smtClean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Oracle 9i (Database)</a:t>
            </a:r>
            <a:endParaRPr lang="en-US" spc="10" dirty="0" smtClean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pc="10" dirty="0" err="1" smtClean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nformatica</a:t>
            </a:r>
            <a:r>
              <a:rPr lang="en-US" spc="10" dirty="0" smtClean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power center 9.5.1 (ETL Tool):- </a:t>
            </a:r>
            <a:endParaRPr lang="en-US" spc="10" dirty="0" smtClean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pc="10" dirty="0" err="1" smtClean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usinessObjects</a:t>
            </a:r>
            <a:r>
              <a:rPr lang="en-US" spc="10" dirty="0" smtClean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XI Release 4</a:t>
            </a:r>
            <a:endParaRPr lang="en-US" spc="10" dirty="0" smtClean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0003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SCHEMA DESIG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9444" y="1353786"/>
            <a:ext cx="6982691" cy="5391397"/>
          </a:xfrm>
        </p:spPr>
      </p:pic>
    </p:spTree>
    <p:extLst>
      <p:ext uri="{BB962C8B-B14F-4D97-AF65-F5344CB8AC3E}">
        <p14:creationId xmlns:p14="http://schemas.microsoft.com/office/powerpoint/2010/main" val="39046073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8267" y="270123"/>
            <a:ext cx="10515600" cy="1325563"/>
          </a:xfrm>
        </p:spPr>
        <p:txBody>
          <a:bodyPr>
            <a:normAutofit/>
          </a:bodyPr>
          <a:lstStyle/>
          <a:p>
            <a:r>
              <a:rPr lang="en-US" sz="6000" dirty="0" smtClean="0"/>
              <a:t>FACT TABLE</a:t>
            </a:r>
            <a:endParaRPr lang="en-US" sz="6000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318" y="1876302"/>
            <a:ext cx="11903682" cy="4667001"/>
          </a:xfrm>
        </p:spPr>
      </p:pic>
    </p:spTree>
    <p:extLst>
      <p:ext uri="{BB962C8B-B14F-4D97-AF65-F5344CB8AC3E}">
        <p14:creationId xmlns:p14="http://schemas.microsoft.com/office/powerpoint/2010/main" val="24086257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519" y="10173"/>
            <a:ext cx="10806546" cy="6592508"/>
          </a:xfrm>
        </p:spPr>
      </p:pic>
    </p:spTree>
    <p:extLst>
      <p:ext uri="{BB962C8B-B14F-4D97-AF65-F5344CB8AC3E}">
        <p14:creationId xmlns:p14="http://schemas.microsoft.com/office/powerpoint/2010/main" val="8029538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                      SAMPLE REPORTS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5658" y="1947554"/>
            <a:ext cx="7101444" cy="4037610"/>
          </a:xfrm>
        </p:spPr>
      </p:pic>
    </p:spTree>
    <p:extLst>
      <p:ext uri="{BB962C8B-B14F-4D97-AF65-F5344CB8AC3E}">
        <p14:creationId xmlns:p14="http://schemas.microsoft.com/office/powerpoint/2010/main" val="19014271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       CONTINENT WISE POPUL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145" y="2161309"/>
            <a:ext cx="10380022" cy="3942608"/>
          </a:xfrm>
        </p:spPr>
      </p:pic>
    </p:spTree>
    <p:extLst>
      <p:ext uri="{BB962C8B-B14F-4D97-AF65-F5344CB8AC3E}">
        <p14:creationId xmlns:p14="http://schemas.microsoft.com/office/powerpoint/2010/main" val="33683726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768" y="498371"/>
            <a:ext cx="10046525" cy="5284912"/>
          </a:xfrm>
        </p:spPr>
      </p:pic>
    </p:spTree>
    <p:extLst>
      <p:ext uri="{BB962C8B-B14F-4D97-AF65-F5344CB8AC3E}">
        <p14:creationId xmlns:p14="http://schemas.microsoft.com/office/powerpoint/2010/main" val="37628552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3</TotalTime>
  <Words>120</Words>
  <Application>Microsoft Office PowerPoint</Application>
  <PresentationFormat>Widescreen</PresentationFormat>
  <Paragraphs>27</Paragraphs>
  <Slides>2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2" baseType="lpstr">
      <vt:lpstr>Arial</vt:lpstr>
      <vt:lpstr>Calibri</vt:lpstr>
      <vt:lpstr>Calibri Light</vt:lpstr>
      <vt:lpstr>Symbol</vt:lpstr>
      <vt:lpstr>Times New Roman</vt:lpstr>
      <vt:lpstr>Office Theme</vt:lpstr>
      <vt:lpstr>think-cell Slide</vt:lpstr>
      <vt:lpstr>PowerPoint Presentation</vt:lpstr>
      <vt:lpstr>BI MINI PROJECT WORLD POPULATION ANALYSIS</vt:lpstr>
      <vt:lpstr>Problem Statement </vt:lpstr>
      <vt:lpstr>SCHEMA DESIGN</vt:lpstr>
      <vt:lpstr>FACT TABLE</vt:lpstr>
      <vt:lpstr>PowerPoint Presentation</vt:lpstr>
      <vt:lpstr>                       SAMPLE REPORTS</vt:lpstr>
      <vt:lpstr>        CONTINENT WISE POPULATION</vt:lpstr>
      <vt:lpstr>PowerPoint Presentation</vt:lpstr>
      <vt:lpstr>             COUNTRY WISE POPULATION</vt:lpstr>
      <vt:lpstr>PowerPoint Presentation</vt:lpstr>
      <vt:lpstr>DEVELOPMENT WISE TOTAL POPULATION</vt:lpstr>
      <vt:lpstr>PowerPoint Presentation</vt:lpstr>
      <vt:lpstr>              CONTINENT WISE AREA</vt:lpstr>
      <vt:lpstr>PowerPoint Presentation</vt:lpstr>
      <vt:lpstr>                   COUNTRY WISE AREA</vt:lpstr>
      <vt:lpstr>PowerPoint Presentation</vt:lpstr>
      <vt:lpstr>CONTINENT WISE HIGHEST AND LOWEST POPULATION</vt:lpstr>
      <vt:lpstr>PowerPoint Presentation</vt:lpstr>
      <vt:lpstr>PowerPoint Presentation</vt:lpstr>
      <vt:lpstr>      COUNTRY WISE HIGHEST POPULATION</vt:lpstr>
      <vt:lpstr>PowerPoint Presentation</vt:lpstr>
      <vt:lpstr>             COUNTRY WISE GOVERNANCE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jala, Vineeth</dc:creator>
  <cp:lastModifiedBy>Gajala, Vineeth</cp:lastModifiedBy>
  <cp:revision>11</cp:revision>
  <dcterms:created xsi:type="dcterms:W3CDTF">2018-11-22T03:13:52Z</dcterms:created>
  <dcterms:modified xsi:type="dcterms:W3CDTF">2018-11-30T12:22:09Z</dcterms:modified>
</cp:coreProperties>
</file>